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69" r:id="rId1"/>
  </p:sldMasterIdLst>
  <p:notesMasterIdLst>
    <p:notesMasterId r:id="rId34"/>
  </p:notesMasterIdLst>
  <p:handoutMasterIdLst>
    <p:handoutMasterId r:id="rId35"/>
  </p:handoutMasterIdLst>
  <p:sldIdLst>
    <p:sldId id="325" r:id="rId2"/>
    <p:sldId id="326" r:id="rId3"/>
    <p:sldId id="318" r:id="rId4"/>
    <p:sldId id="319" r:id="rId5"/>
    <p:sldId id="361" r:id="rId6"/>
    <p:sldId id="370" r:id="rId7"/>
    <p:sldId id="371" r:id="rId8"/>
    <p:sldId id="372" r:id="rId9"/>
    <p:sldId id="373" r:id="rId10"/>
    <p:sldId id="330" r:id="rId11"/>
    <p:sldId id="328" r:id="rId12"/>
    <p:sldId id="329" r:id="rId13"/>
    <p:sldId id="363" r:id="rId14"/>
    <p:sldId id="334" r:id="rId15"/>
    <p:sldId id="335" r:id="rId16"/>
    <p:sldId id="337" r:id="rId17"/>
    <p:sldId id="341" r:id="rId18"/>
    <p:sldId id="340" r:id="rId19"/>
    <p:sldId id="374" r:id="rId20"/>
    <p:sldId id="338" r:id="rId21"/>
    <p:sldId id="342" r:id="rId22"/>
    <p:sldId id="376" r:id="rId23"/>
    <p:sldId id="357" r:id="rId24"/>
    <p:sldId id="365" r:id="rId25"/>
    <p:sldId id="366" r:id="rId26"/>
    <p:sldId id="322" r:id="rId27"/>
    <p:sldId id="347" r:id="rId28"/>
    <p:sldId id="346" r:id="rId29"/>
    <p:sldId id="360" r:id="rId30"/>
    <p:sldId id="348" r:id="rId31"/>
    <p:sldId id="351" r:id="rId32"/>
    <p:sldId id="350" r:id="rId33"/>
  </p:sldIdLst>
  <p:sldSz cx="12192000" cy="6858000"/>
  <p:notesSz cx="6858000" cy="9926638"/>
  <p:custDataLst>
    <p:tags r:id="rId36"/>
  </p:custDataLst>
  <p:defaultTextStyle>
    <a:defPPr>
      <a:defRPr lang="en-US"/>
    </a:defPPr>
    <a:lvl1pPr marL="0" indent="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accent1"/>
      </a:buClr>
      <a:buSzPct val="100000"/>
      <a:buFontTx/>
      <a:buNone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1pPr>
    <a:lvl2pPr marL="18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2"/>
      </a:buClr>
      <a:buSzPct val="100000"/>
      <a:buFont typeface="Wingdings" pitchFamily="2" charset="2"/>
      <a:buChar char="§"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2pPr>
    <a:lvl3pPr marL="36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1"/>
      </a:buClr>
      <a:buSzPct val="100000"/>
      <a:buFont typeface="Arial" pitchFamily="34" charset="0"/>
      <a:buChar char="–"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3pPr>
    <a:lvl4pPr marL="54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1"/>
      </a:buClr>
      <a:buSzPct val="100000"/>
      <a:buFont typeface="Arial" pitchFamily="34" charset="0"/>
      <a:buChar char="•"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4pPr>
    <a:lvl5pPr marL="72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1"/>
      </a:buClr>
      <a:buSzPct val="100000"/>
      <a:buFont typeface="Arial" pitchFamily="34" charset="0"/>
      <a:buChar char="–"/>
      <a:defRPr lang="en-US" sz="1600" b="0" i="0" dirty="0">
        <a:solidFill>
          <a:schemeClr val="tx1"/>
        </a:solidFill>
        <a:latin typeface="+mn-lt"/>
        <a:ea typeface="+mn-ea"/>
        <a:cs typeface="+mn-cs"/>
      </a:defRPr>
    </a:lvl5pPr>
    <a:lvl6pPr marL="20050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6pPr>
    <a:lvl7pPr marL="24622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7pPr>
    <a:lvl8pPr marL="29194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8pPr>
    <a:lvl9pPr marL="33766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72" userDrawn="1">
          <p15:clr>
            <a:srgbClr val="A4A3A4"/>
          </p15:clr>
        </p15:guide>
        <p15:guide id="2" orient="horz" pos="890" userDrawn="1">
          <p15:clr>
            <a:srgbClr val="A4A3A4"/>
          </p15:clr>
        </p15:guide>
        <p15:guide id="3" orient="horz" pos="3758" userDrawn="1">
          <p15:clr>
            <a:srgbClr val="A4A3A4"/>
          </p15:clr>
        </p15:guide>
        <p15:guide id="4" pos="310" userDrawn="1">
          <p15:clr>
            <a:srgbClr val="A4A3A4"/>
          </p15:clr>
        </p15:guide>
        <p15:guide id="5" pos="7385" userDrawn="1">
          <p15:clr>
            <a:srgbClr val="A4A3A4"/>
          </p15:clr>
        </p15:guide>
        <p15:guide id="6" pos="13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6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4E4E4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 autoAdjust="0"/>
  </p:normalViewPr>
  <p:slideViewPr>
    <p:cSldViewPr snapToObjects="1" showGuides="1">
      <p:cViewPr>
        <p:scale>
          <a:sx n="122" d="100"/>
          <a:sy n="122" d="100"/>
        </p:scale>
        <p:origin x="-150" y="-42"/>
      </p:cViewPr>
      <p:guideLst>
        <p:guide orient="horz" pos="672"/>
        <p:guide orient="horz" pos="890"/>
        <p:guide orient="horz" pos="3758"/>
        <p:guide pos="310"/>
        <p:guide pos="7385"/>
        <p:guide pos="13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Objects="1" showGuides="1">
      <p:cViewPr varScale="1">
        <p:scale>
          <a:sx n="84" d="100"/>
          <a:sy n="84" d="100"/>
        </p:scale>
        <p:origin x="-3804" y="-72"/>
      </p:cViewPr>
      <p:guideLst>
        <p:guide orient="horz" pos="2880"/>
        <p:guide orient="horz" pos="3127"/>
        <p:guide pos="2160"/>
        <p:guide pos="216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23663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715154"/>
            <a:ext cx="5486400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290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0"/>
      </a:spcBef>
      <a:spcAft>
        <a:spcPts val="600"/>
      </a:spcAft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38138" indent="-112713" algn="l" defTabSz="914400" rtl="0" eaLnBrk="1" latinLnBrk="0" hangingPunct="1">
      <a:spcBef>
        <a:spcPts val="0"/>
      </a:spcBef>
      <a:spcAft>
        <a:spcPts val="600"/>
      </a:spcAft>
      <a:buFont typeface="Arial" pitchFamily="34" charset="0"/>
      <a:buChar char="•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519113" indent="-125413" algn="l" defTabSz="914400" rtl="0" eaLnBrk="1" latinLnBrk="0" hangingPunct="1">
      <a:spcBef>
        <a:spcPts val="0"/>
      </a:spcBef>
      <a:spcAft>
        <a:spcPts val="600"/>
      </a:spcAft>
      <a:buFont typeface="Arial" pitchFamily="34" charset="0"/>
      <a:buChar char="−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693738" indent="-117475" algn="l" defTabSz="914400" rtl="0" eaLnBrk="1" latinLnBrk="0" hangingPunct="1">
      <a:spcBef>
        <a:spcPts val="0"/>
      </a:spcBef>
      <a:spcAft>
        <a:spcPts val="600"/>
      </a:spcAft>
      <a:buFont typeface="Courier New" pitchFamily="49" charset="0"/>
      <a:buChar char="o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857250" indent="-112713" algn="l" defTabSz="914400" rtl="0" eaLnBrk="1" latinLnBrk="0" hangingPunct="1">
      <a:spcBef>
        <a:spcPts val="0"/>
      </a:spcBef>
      <a:spcAft>
        <a:spcPts val="600"/>
      </a:spcAft>
      <a:buFont typeface="Arial" pitchFamily="34" charset="0"/>
      <a:buChar char="•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981075"/>
            <a:ext cx="12240684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>
            <a:lvl1pPr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574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n-GB" altLang="fr-FR" sz="2215" kern="1200" dirty="0" smtClean="0">
              <a:solidFill>
                <a:srgbClr val="FFFFFF"/>
              </a:solidFill>
              <a:sym typeface="Gill Sans" charset="0"/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855" y="258769"/>
            <a:ext cx="1915583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5689600" y="6659563"/>
            <a:ext cx="814917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62737" fontAlgn="auto"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GB" sz="2215" kern="1200" dirty="0">
              <a:solidFill>
                <a:srgbClr val="FFFFFF"/>
              </a:solidFill>
              <a:sym typeface="Gill Sans" charset="0"/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327650" y="2565406"/>
            <a:ext cx="6720416" cy="790575"/>
          </a:xfrm>
          <a:prstGeom prst="rect">
            <a:avLst/>
          </a:prstGeom>
        </p:spPr>
        <p:txBody>
          <a:bodyPr/>
          <a:lstStyle>
            <a:lvl1pPr marL="3908">
              <a:defRPr sz="9354">
                <a:solidFill>
                  <a:srgbClr val="FFD624"/>
                </a:solidFill>
              </a:defRPr>
            </a:lvl1pPr>
          </a:lstStyle>
          <a:p>
            <a:pPr lvl="0"/>
            <a:r>
              <a:rPr lang="en-GB" altLang="fr-FR" noProof="0" dirty="0" smtClean="0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814917" y="3716344"/>
            <a:ext cx="11377083" cy="17287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692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altLang="fr-FR" noProof="0" dirty="0" smtClean="0"/>
              <a:t>Click to edit Master subtitle style</a:t>
            </a:r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 sz="1477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fr-FR" dirty="0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fr-FR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fld id="{78EEDD75-88BC-4436-93CA-49CE1DA40F25}" type="slidenum">
              <a:rPr lang="en-GB" altLang="fr-FR">
                <a:solidFill>
                  <a:srgbClr val="FFFFFF"/>
                </a:solidFill>
              </a:rPr>
              <a:pPr/>
              <a:t>‹#›</a:t>
            </a:fld>
            <a:endParaRPr lang="en-GB" alt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428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492381"/>
            <a:ext cx="10972800" cy="35290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44F876B-9E3B-4724-A56B-C690C78614CF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206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20151" y="1339850"/>
            <a:ext cx="2762250" cy="4681538"/>
          </a:xfrm>
          <a:prstGeom prst="rect">
            <a:avLst/>
          </a:prstGeom>
        </p:spPr>
        <p:txBody>
          <a:bodyPr vert="eaVert"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7051" y="1339850"/>
            <a:ext cx="8089900" cy="46815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3214622C-8776-45F9-B191-49F33FB9FA6D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371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492381"/>
            <a:ext cx="10972800" cy="35290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6AB10BA-40BC-49D9-8313-BE9ACC7EDE04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737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923" b="1" cap="all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62"/>
            </a:lvl1pPr>
            <a:lvl2pPr marL="562737" indent="0">
              <a:buNone/>
              <a:defRPr sz="2215"/>
            </a:lvl2pPr>
            <a:lvl3pPr marL="1125472" indent="0">
              <a:buNone/>
              <a:defRPr sz="1969"/>
            </a:lvl3pPr>
            <a:lvl4pPr marL="1688207" indent="0">
              <a:buNone/>
              <a:defRPr sz="1723"/>
            </a:lvl4pPr>
            <a:lvl5pPr marL="2250944" indent="0">
              <a:buNone/>
              <a:defRPr sz="1723"/>
            </a:lvl5pPr>
            <a:lvl6pPr marL="2813679" indent="0">
              <a:buNone/>
              <a:defRPr sz="1723"/>
            </a:lvl6pPr>
            <a:lvl7pPr marL="3376415" indent="0">
              <a:buNone/>
              <a:defRPr sz="1723"/>
            </a:lvl7pPr>
            <a:lvl8pPr marL="3939151" indent="0">
              <a:buNone/>
              <a:defRPr sz="1723"/>
            </a:lvl8pPr>
            <a:lvl9pPr marL="4501886" indent="0">
              <a:buNone/>
              <a:defRPr sz="1723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6F51819C-5597-4D30-A0BD-468FF57FD223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571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492381"/>
            <a:ext cx="5384800" cy="3529013"/>
          </a:xfrm>
          <a:prstGeom prst="rect">
            <a:avLst/>
          </a:prstGeo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492381"/>
            <a:ext cx="5384800" cy="3529013"/>
          </a:xfrm>
          <a:prstGeom prst="rect">
            <a:avLst/>
          </a:prstGeo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59263F2F-EEF0-4BD0-ACAD-381A9D2B12E5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7846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954" b="1"/>
            </a:lvl1pPr>
            <a:lvl2pPr marL="562737" indent="0">
              <a:buNone/>
              <a:defRPr sz="2462" b="1"/>
            </a:lvl2pPr>
            <a:lvl3pPr marL="1125472" indent="0">
              <a:buNone/>
              <a:defRPr sz="2215" b="1"/>
            </a:lvl3pPr>
            <a:lvl4pPr marL="1688207" indent="0">
              <a:buNone/>
              <a:defRPr sz="1969" b="1"/>
            </a:lvl4pPr>
            <a:lvl5pPr marL="2250944" indent="0">
              <a:buNone/>
              <a:defRPr sz="1969" b="1"/>
            </a:lvl5pPr>
            <a:lvl6pPr marL="2813679" indent="0">
              <a:buNone/>
              <a:defRPr sz="1969" b="1"/>
            </a:lvl6pPr>
            <a:lvl7pPr marL="3376415" indent="0">
              <a:buNone/>
              <a:defRPr sz="1969" b="1"/>
            </a:lvl7pPr>
            <a:lvl8pPr marL="3939151" indent="0">
              <a:buNone/>
              <a:defRPr sz="1969" b="1"/>
            </a:lvl8pPr>
            <a:lvl9pPr marL="4501886" indent="0">
              <a:buNone/>
              <a:defRPr sz="1969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954" b="1"/>
            </a:lvl1pPr>
            <a:lvl2pPr marL="562737" indent="0">
              <a:buNone/>
              <a:defRPr sz="2462" b="1"/>
            </a:lvl2pPr>
            <a:lvl3pPr marL="1125472" indent="0">
              <a:buNone/>
              <a:defRPr sz="2215" b="1"/>
            </a:lvl3pPr>
            <a:lvl4pPr marL="1688207" indent="0">
              <a:buNone/>
              <a:defRPr sz="1969" b="1"/>
            </a:lvl4pPr>
            <a:lvl5pPr marL="2250944" indent="0">
              <a:buNone/>
              <a:defRPr sz="1969" b="1"/>
            </a:lvl5pPr>
            <a:lvl6pPr marL="2813679" indent="0">
              <a:buNone/>
              <a:defRPr sz="1969" b="1"/>
            </a:lvl6pPr>
            <a:lvl7pPr marL="3376415" indent="0">
              <a:buNone/>
              <a:defRPr sz="1969" b="1"/>
            </a:lvl7pPr>
            <a:lvl8pPr marL="3939151" indent="0">
              <a:buNone/>
              <a:defRPr sz="1969" b="1"/>
            </a:lvl8pPr>
            <a:lvl9pPr marL="4501886" indent="0">
              <a:buNone/>
              <a:defRPr sz="1969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3951288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6F868A78-9FE8-4CA1-AF1B-109667539968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756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CC9EC7C5-120D-4112-82B5-D23F1382BB6D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1550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277D5AD-C6FB-4DEE-870E-E95E110A4D89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751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6"/>
            <a:ext cx="6815666" cy="5853113"/>
          </a:xfrm>
          <a:prstGeom prst="rect">
            <a:avLst/>
          </a:prstGeo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23"/>
            </a:lvl1pPr>
            <a:lvl2pPr marL="562737" indent="0">
              <a:buNone/>
              <a:defRPr sz="1477"/>
            </a:lvl2pPr>
            <a:lvl3pPr marL="1125472" indent="0">
              <a:buNone/>
              <a:defRPr sz="1231"/>
            </a:lvl3pPr>
            <a:lvl4pPr marL="1688207" indent="0">
              <a:buNone/>
              <a:defRPr sz="1108"/>
            </a:lvl4pPr>
            <a:lvl5pPr marL="2250944" indent="0">
              <a:buNone/>
              <a:defRPr sz="1108"/>
            </a:lvl5pPr>
            <a:lvl6pPr marL="2813679" indent="0">
              <a:buNone/>
              <a:defRPr sz="1108"/>
            </a:lvl6pPr>
            <a:lvl7pPr marL="3376415" indent="0">
              <a:buNone/>
              <a:defRPr sz="1108"/>
            </a:lvl7pPr>
            <a:lvl8pPr marL="3939151" indent="0">
              <a:buNone/>
              <a:defRPr sz="1108"/>
            </a:lvl8pPr>
            <a:lvl9pPr marL="4501886" indent="0">
              <a:buNone/>
              <a:defRPr sz="1108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19606702-55ED-48C4-8FC3-E0F8612D80A1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7324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39"/>
            </a:lvl1pPr>
            <a:lvl2pPr marL="562737" indent="0">
              <a:buNone/>
              <a:defRPr sz="3446"/>
            </a:lvl2pPr>
            <a:lvl3pPr marL="1125472" indent="0">
              <a:buNone/>
              <a:defRPr sz="2954"/>
            </a:lvl3pPr>
            <a:lvl4pPr marL="1688207" indent="0">
              <a:buNone/>
              <a:defRPr sz="2462"/>
            </a:lvl4pPr>
            <a:lvl5pPr marL="2250944" indent="0">
              <a:buNone/>
              <a:defRPr sz="2462"/>
            </a:lvl5pPr>
            <a:lvl6pPr marL="2813679" indent="0">
              <a:buNone/>
              <a:defRPr sz="2462"/>
            </a:lvl6pPr>
            <a:lvl7pPr marL="3376415" indent="0">
              <a:buNone/>
              <a:defRPr sz="2462"/>
            </a:lvl7pPr>
            <a:lvl8pPr marL="3939151" indent="0">
              <a:buNone/>
              <a:defRPr sz="2462"/>
            </a:lvl8pPr>
            <a:lvl9pPr marL="4501886" indent="0">
              <a:buNone/>
              <a:defRPr sz="2462"/>
            </a:lvl9pPr>
          </a:lstStyle>
          <a:p>
            <a:pPr lvl="0"/>
            <a:r>
              <a:rPr lang="en-GB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23"/>
            </a:lvl1pPr>
            <a:lvl2pPr marL="562737" indent="0">
              <a:buNone/>
              <a:defRPr sz="1477"/>
            </a:lvl2pPr>
            <a:lvl3pPr marL="1125472" indent="0">
              <a:buNone/>
              <a:defRPr sz="1231"/>
            </a:lvl3pPr>
            <a:lvl4pPr marL="1688207" indent="0">
              <a:buNone/>
              <a:defRPr sz="1108"/>
            </a:lvl4pPr>
            <a:lvl5pPr marL="2250944" indent="0">
              <a:buNone/>
              <a:defRPr sz="1108"/>
            </a:lvl5pPr>
            <a:lvl6pPr marL="2813679" indent="0">
              <a:buNone/>
              <a:defRPr sz="1108"/>
            </a:lvl6pPr>
            <a:lvl7pPr marL="3376415" indent="0">
              <a:buNone/>
              <a:defRPr sz="1108"/>
            </a:lvl7pPr>
            <a:lvl8pPr marL="3939151" indent="0">
              <a:buNone/>
              <a:defRPr sz="1108"/>
            </a:lvl8pPr>
            <a:lvl9pPr marL="4501886" indent="0">
              <a:buNone/>
              <a:defRPr sz="1108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A3B1722-3C46-44A8-BCDA-06D1B0A0D2D4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8599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88178881"/>
              </p:ext>
            </p:ext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4237" y="3181"/>
            <a:ext cx="12187763" cy="685481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2091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hf sldNum="0" hdr="0" ftr="0" dt="0"/>
  <p:txStyles>
    <p:titleStyle>
      <a:lvl1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+mj-lt"/>
          <a:ea typeface="+mj-ea"/>
          <a:cs typeface="+mj-cs"/>
        </a:defRPr>
      </a:lvl1pPr>
      <a:lvl2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2pPr>
      <a:lvl3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3pPr>
      <a:lvl4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4pPr>
      <a:lvl5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5pPr>
      <a:lvl6pPr marL="1004327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6pPr>
      <a:lvl7pPr marL="1567063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7pPr>
      <a:lvl8pPr marL="2129800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8pPr>
      <a:lvl9pPr marL="2692534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9pPr>
    </p:titleStyle>
    <p:bodyStyle>
      <a:lvl1pPr marL="422051" indent="-422051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954" i="1">
          <a:solidFill>
            <a:srgbClr val="0F5494"/>
          </a:solidFill>
          <a:latin typeface="+mn-lt"/>
          <a:ea typeface="+mn-ea"/>
          <a:cs typeface="+mn-cs"/>
        </a:defRPr>
      </a:lvl1pPr>
      <a:lvl2pPr marL="914446" indent="-35171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462" b="1">
          <a:solidFill>
            <a:srgbClr val="0F5494"/>
          </a:solidFill>
          <a:latin typeface="+mn-lt"/>
        </a:defRPr>
      </a:lvl2pPr>
      <a:lvl3pPr marL="1406839" indent="-281368" algn="l" rtl="0" eaLnBrk="0" fontAlgn="base" hangingPunct="0">
        <a:spcBef>
          <a:spcPct val="20000"/>
        </a:spcBef>
        <a:spcAft>
          <a:spcPct val="0"/>
        </a:spcAft>
        <a:defRPr sz="1723">
          <a:solidFill>
            <a:srgbClr val="0F5494"/>
          </a:solidFill>
          <a:latin typeface="+mn-lt"/>
        </a:defRPr>
      </a:lvl3pPr>
      <a:lvl4pPr marL="1969575" indent="-281368" algn="l" rtl="0" eaLnBrk="0" fontAlgn="base" hangingPunct="0">
        <a:spcBef>
          <a:spcPct val="20000"/>
        </a:spcBef>
        <a:spcAft>
          <a:spcPct val="0"/>
        </a:spcAft>
        <a:buChar char="–"/>
        <a:defRPr sz="2462">
          <a:solidFill>
            <a:schemeClr val="tx1"/>
          </a:solidFill>
          <a:latin typeface="Arial" charset="0"/>
        </a:defRPr>
      </a:lvl4pPr>
      <a:lvl5pPr marL="2532312" indent="-281368" algn="l" rtl="0" eaLnBrk="0" fontAlgn="base" hangingPunct="0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5pPr>
      <a:lvl6pPr marL="3095047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6pPr>
      <a:lvl7pPr marL="3657783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7pPr>
      <a:lvl8pPr marL="4220519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8pPr>
      <a:lvl9pPr marL="4783254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37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72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207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944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79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415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151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886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wmv"/><Relationship Id="rId1" Type="http://schemas.microsoft.com/office/2007/relationships/media" Target="../media/media3.wmv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wmv"/><Relationship Id="rId1" Type="http://schemas.microsoft.com/office/2007/relationships/media" Target="../media/media4.wmv"/><Relationship Id="rId4" Type="http://schemas.openxmlformats.org/officeDocument/2006/relationships/image" Target="../media/image12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wmv"/><Relationship Id="rId1" Type="http://schemas.microsoft.com/office/2007/relationships/media" Target="../media/media5.wmv"/><Relationship Id="rId4" Type="http://schemas.openxmlformats.org/officeDocument/2006/relationships/image" Target="../media/image1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wmv"/><Relationship Id="rId1" Type="http://schemas.microsoft.com/office/2007/relationships/media" Target="../media/media6.wmv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wmv"/><Relationship Id="rId1" Type="http://schemas.microsoft.com/office/2007/relationships/media" Target="../media/media2.wmv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6029" y="3200400"/>
            <a:ext cx="9395883" cy="790575"/>
          </a:xfrm>
        </p:spPr>
        <p:txBody>
          <a:bodyPr/>
          <a:lstStyle/>
          <a:p>
            <a:pPr marL="0" indent="0" algn="ctr"/>
            <a:r>
              <a:rPr lang="en-GB" sz="2800" dirty="0" smtClean="0"/>
              <a:t>Delegation workshop – Vision 2020 – </a:t>
            </a:r>
            <a:br>
              <a:rPr lang="en-GB" sz="2800" dirty="0" smtClean="0"/>
            </a:br>
            <a:r>
              <a:rPr lang="en-GB" sz="2800" dirty="0" smtClean="0"/>
              <a:t>Monday 23/11/2020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516285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29000" y="2509759"/>
            <a:ext cx="4419600" cy="1949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is alerted on urgent tasks he has to act on</a:t>
            </a:r>
          </a:p>
          <a:p>
            <a:pPr algn="ctr"/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61216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81" t="11522" b="57988"/>
          <a:stretch/>
        </p:blipFill>
        <p:spPr>
          <a:xfrm>
            <a:off x="1828800" y="246927"/>
            <a:ext cx="9283459" cy="6095999"/>
          </a:xfrm>
          <a:prstGeom prst="rect">
            <a:avLst/>
          </a:prstGeom>
        </p:spPr>
      </p:pic>
      <p:sp>
        <p:nvSpPr>
          <p:cNvPr id="2" name="Oval 1"/>
          <p:cNvSpPr/>
          <p:nvPr/>
        </p:nvSpPr>
        <p:spPr bwMode="auto">
          <a:xfrm>
            <a:off x="6705359" y="4876800"/>
            <a:ext cx="4419600" cy="990600"/>
          </a:xfrm>
          <a:prstGeom prst="ellipse">
            <a:avLst/>
          </a:prstGeom>
          <a:noFill/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CH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3469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3. Checking notifications and reviewing IAD(1)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73175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186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29000" y="2509759"/>
            <a:ext cx="4419600" cy="10876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Lunchtime</a:t>
            </a:r>
          </a:p>
          <a:p>
            <a:pPr algn="ctr"/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71144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743200" y="2172831"/>
            <a:ext cx="64770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After acting on the day’s urgency, Etienne continues to prepare his coordination meeting on the Programme ‘Eliminate Malnutrition in Gondwana’ (EMG)</a:t>
            </a:r>
          </a:p>
        </p:txBody>
      </p:sp>
    </p:spTree>
    <p:extLst>
      <p:ext uri="{BB962C8B-B14F-4D97-AF65-F5344CB8AC3E}">
        <p14:creationId xmlns:p14="http://schemas.microsoft.com/office/powerpoint/2010/main" val="4112741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95600" y="2667000"/>
            <a:ext cx="6477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consults the EMG Programme Page from his Workplace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99071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45" t="16615" r="66592" b="35555"/>
          <a:stretch/>
        </p:blipFill>
        <p:spPr>
          <a:xfrm>
            <a:off x="4343400" y="370149"/>
            <a:ext cx="3505200" cy="6286921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 bwMode="auto">
          <a:xfrm>
            <a:off x="4343400" y="2895600"/>
            <a:ext cx="3886200" cy="304800"/>
          </a:xfrm>
          <a:prstGeom prst="ellipse">
            <a:avLst/>
          </a:prstGeom>
          <a:noFill/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CH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0722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95600" y="2667000"/>
            <a:ext cx="6477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checks the Programme’s Health Status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08278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228600"/>
            <a:ext cx="8893969" cy="632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81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35" t="16868" r="34029" b="46134"/>
          <a:stretch/>
        </p:blipFill>
        <p:spPr>
          <a:xfrm>
            <a:off x="533400" y="609600"/>
            <a:ext cx="10896600" cy="587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002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29000" y="2509759"/>
            <a:ext cx="4419600" cy="1949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Meet Etienne, Operational Manager in Gondwana</a:t>
            </a:r>
          </a:p>
          <a:p>
            <a:pPr algn="ctr"/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52278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95600" y="2133600"/>
            <a:ext cx="64770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In order to better understand why one of the key indicators is orange, Etienne drills down into the key indicators and prints the </a:t>
            </a:r>
            <a:r>
              <a:rPr lang="en-GB" sz="2800" dirty="0" err="1" smtClean="0">
                <a:solidFill>
                  <a:schemeClr val="bg1"/>
                </a:solidFill>
                <a:latin typeface="+mj-lt"/>
              </a:rPr>
              <a:t>logframe</a:t>
            </a: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 as part of his coordination meeting preparation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8466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9911" y="0"/>
            <a:ext cx="383217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625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48" r="17201" b="72222"/>
          <a:stretch/>
        </p:blipFill>
        <p:spPr>
          <a:xfrm>
            <a:off x="175434" y="329724"/>
            <a:ext cx="11787966" cy="5969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57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8392" y="0"/>
            <a:ext cx="78752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752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61" t="17992" r="17102" b="51965"/>
          <a:stretch/>
        </p:blipFill>
        <p:spPr>
          <a:xfrm>
            <a:off x="914400" y="1447800"/>
            <a:ext cx="10495004" cy="3733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60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61" t="46411" r="17102" b="12222"/>
          <a:stretch/>
        </p:blipFill>
        <p:spPr>
          <a:xfrm>
            <a:off x="685800" y="876300"/>
            <a:ext cx="10888416" cy="53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454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4.1. Checking Indicators of EMG Programme(1)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73175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541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95600" y="2133600"/>
            <a:ext cx="6477000" cy="3242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is interrupted by a disturbing call from a technical assistant at the Ministry of </a:t>
            </a:r>
            <a:r>
              <a:rPr lang="en-GB" sz="2800" dirty="0" smtClean="0">
                <a:solidFill>
                  <a:schemeClr val="bg1"/>
                </a:solidFill>
              </a:rPr>
              <a:t>Agriculture</a:t>
            </a:r>
          </a:p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Specially disturbing as the budget support variable tranche is soon to be submitted </a:t>
            </a:r>
          </a:p>
        </p:txBody>
      </p:sp>
    </p:spTree>
    <p:extLst>
      <p:ext uri="{BB962C8B-B14F-4D97-AF65-F5344CB8AC3E}">
        <p14:creationId xmlns:p14="http://schemas.microsoft.com/office/powerpoint/2010/main" val="2172379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6. Etienne works, is interrupted by Agriculture Ministry(1)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73175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05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800" y="173989"/>
            <a:ext cx="9372600" cy="6664961"/>
          </a:xfrm>
        </p:spPr>
      </p:pic>
      <p:sp>
        <p:nvSpPr>
          <p:cNvPr id="5" name="Oval 4"/>
          <p:cNvSpPr/>
          <p:nvPr/>
        </p:nvSpPr>
        <p:spPr bwMode="auto">
          <a:xfrm>
            <a:off x="3001736" y="4191000"/>
            <a:ext cx="2667001" cy="990600"/>
          </a:xfrm>
          <a:prstGeom prst="ellipse">
            <a:avLst/>
          </a:prstGeom>
          <a:noFill/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CH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1447800" y="3695700"/>
            <a:ext cx="1333500" cy="495300"/>
          </a:xfrm>
          <a:prstGeom prst="ellipse">
            <a:avLst/>
          </a:prstGeom>
          <a:noFill/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CH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8610600" y="1447800"/>
            <a:ext cx="1752600" cy="495300"/>
          </a:xfrm>
          <a:prstGeom prst="ellipse">
            <a:avLst/>
          </a:prstGeom>
          <a:noFill/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CH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360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. Meet Etienne, he works for the EC(1)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93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95600" y="2551093"/>
            <a:ext cx="6477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Anyhow, before he leaves, he has to approve an outstanding invoice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85289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28061" t="25778" r="26276" b="21906"/>
          <a:stretch/>
        </p:blipFill>
        <p:spPr>
          <a:xfrm>
            <a:off x="2667000" y="228600"/>
            <a:ext cx="7467600" cy="6416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771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8. Logging out(1)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09600" y="0"/>
            <a:ext cx="10972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123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. Etienne is at desk, logs into Opsys(1)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73175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683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968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061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79" t="17778" r="66390" b="43842"/>
          <a:stretch/>
        </p:blipFill>
        <p:spPr>
          <a:xfrm>
            <a:off x="4191000" y="381000"/>
            <a:ext cx="363988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46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2" t="17779" r="16025" b="11110"/>
          <a:stretch/>
        </p:blipFill>
        <p:spPr>
          <a:xfrm>
            <a:off x="5092699" y="228600"/>
            <a:ext cx="2222501" cy="646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204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15" t="64444" r="33407"/>
          <a:stretch/>
        </p:blipFill>
        <p:spPr>
          <a:xfrm>
            <a:off x="1143000" y="660400"/>
            <a:ext cx="9901240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83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07" t="17779" r="33408" b="35555"/>
          <a:stretch/>
        </p:blipFill>
        <p:spPr>
          <a:xfrm>
            <a:off x="3124200" y="228601"/>
            <a:ext cx="5943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7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fr-FR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fr-FR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0</Words>
  <Application>Microsoft Office PowerPoint</Application>
  <PresentationFormat>Custom</PresentationFormat>
  <Paragraphs>11</Paragraphs>
  <Slides>32</Slides>
  <Notes>0</Notes>
  <HiddenSlides>0</HiddenSlides>
  <MMClips>6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4" baseType="lpstr">
      <vt:lpstr>blank</vt:lpstr>
      <vt:lpstr>think-cell Slide</vt:lpstr>
      <vt:lpstr>Delegation workshop – Vision 2020 –  Monday 23/11/2020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Template version: 24 February 2015</dc:description>
  <cp:lastModifiedBy/>
  <cp:revision>1</cp:revision>
  <dcterms:created xsi:type="dcterms:W3CDTF">2016-04-22T07:23:39Z</dcterms:created>
  <dcterms:modified xsi:type="dcterms:W3CDTF">2016-11-18T12:23:07Z</dcterms:modified>
  <cp:category>Presentation</cp:category>
</cp:coreProperties>
</file>